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600"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989DAC-BAB5-4E30-855F-B49CACBBD14C}" v="54" dt="2023-02-27T23:33:28.0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01" d="100"/>
          <a:sy n="101" d="100"/>
        </p:scale>
        <p:origin x="144" y="828"/>
      </p:cViewPr>
      <p:guideLst>
        <p:guide orient="horz" pos="648"/>
        <p:guide pos="3600"/>
        <p:guide pos="7584"/>
        <p:guide orient="horz" pos="4032"/>
        <p:guide pos="96"/>
        <p:guide pos="2856"/>
        <p:guide pos="576"/>
        <p:guide orient="horz" pos="3840"/>
        <p:guide orient="horz" pos="816"/>
        <p:guide orient="horz" pos="1032"/>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36989DAC-BAB5-4E30-855F-B49CACBBD14C}"/>
    <pc:docChg chg="addSld delSld modSld">
      <pc:chgData name="Roberto Gallardo" userId="49a044883f185952" providerId="LiveId" clId="{36989DAC-BAB5-4E30-855F-B49CACBBD14C}" dt="2023-02-27T23:33:39.076" v="204" actId="1076"/>
      <pc:docMkLst>
        <pc:docMk/>
      </pc:docMkLst>
      <pc:sldChg chg="del">
        <pc:chgData name="Roberto Gallardo" userId="49a044883f185952" providerId="LiveId" clId="{36989DAC-BAB5-4E30-855F-B49CACBBD14C}" dt="2023-02-25T14:32:15.957" v="4" actId="47"/>
        <pc:sldMkLst>
          <pc:docMk/>
          <pc:sldMk cId="1175010214" sldId="261"/>
        </pc:sldMkLst>
      </pc:sldChg>
      <pc:sldChg chg="addSp modSp mod">
        <pc:chgData name="Roberto Gallardo" userId="49a044883f185952" providerId="LiveId" clId="{36989DAC-BAB5-4E30-855F-B49CACBBD14C}" dt="2023-02-27T23:25:40.156" v="11" actId="1076"/>
        <pc:sldMkLst>
          <pc:docMk/>
          <pc:sldMk cId="1418533539" sldId="271"/>
        </pc:sldMkLst>
        <pc:picChg chg="add mod">
          <ac:chgData name="Roberto Gallardo" userId="49a044883f185952" providerId="LiveId" clId="{36989DAC-BAB5-4E30-855F-B49CACBBD14C}" dt="2023-02-27T23:25:40.156" v="11" actId="1076"/>
          <ac:picMkLst>
            <pc:docMk/>
            <pc:sldMk cId="1418533539" sldId="271"/>
            <ac:picMk id="6" creationId="{A11BDFD6-7531-CA58-330D-F6DD177188C0}"/>
          </ac:picMkLst>
        </pc:picChg>
      </pc:sldChg>
      <pc:sldChg chg="addSp modSp mod">
        <pc:chgData name="Roberto Gallardo" userId="49a044883f185952" providerId="LiveId" clId="{36989DAC-BAB5-4E30-855F-B49CACBBD14C}" dt="2023-02-27T23:28:04.607" v="74" actId="1076"/>
        <pc:sldMkLst>
          <pc:docMk/>
          <pc:sldMk cId="2124848710" sldId="281"/>
        </pc:sldMkLst>
        <pc:picChg chg="add mod">
          <ac:chgData name="Roberto Gallardo" userId="49a044883f185952" providerId="LiveId" clId="{36989DAC-BAB5-4E30-855F-B49CACBBD14C}" dt="2023-02-27T23:28:04.607" v="74" actId="1076"/>
          <ac:picMkLst>
            <pc:docMk/>
            <pc:sldMk cId="2124848710" sldId="281"/>
            <ac:picMk id="6" creationId="{0CA3DC6E-0CBC-C57C-1931-48A366BE6AFB}"/>
          </ac:picMkLst>
        </pc:picChg>
      </pc:sldChg>
      <pc:sldChg chg="addSp modSp mod">
        <pc:chgData name="Roberto Gallardo" userId="49a044883f185952" providerId="LiveId" clId="{36989DAC-BAB5-4E30-855F-B49CACBBD14C}" dt="2023-02-27T23:28:22.328" v="83" actId="1076"/>
        <pc:sldMkLst>
          <pc:docMk/>
          <pc:sldMk cId="2028175529" sldId="282"/>
        </pc:sldMkLst>
        <pc:picChg chg="add mod">
          <ac:chgData name="Roberto Gallardo" userId="49a044883f185952" providerId="LiveId" clId="{36989DAC-BAB5-4E30-855F-B49CACBBD14C}" dt="2023-02-27T23:28:22.328" v="83" actId="1076"/>
          <ac:picMkLst>
            <pc:docMk/>
            <pc:sldMk cId="2028175529" sldId="282"/>
            <ac:picMk id="7" creationId="{04D1CD7A-E90E-72DF-2756-1AE21593EC61}"/>
          </ac:picMkLst>
        </pc:picChg>
      </pc:sldChg>
      <pc:sldChg chg="addSp modSp mod">
        <pc:chgData name="Roberto Gallardo" userId="49a044883f185952" providerId="LiveId" clId="{36989DAC-BAB5-4E30-855F-B49CACBBD14C}" dt="2023-02-27T23:28:47.648" v="95" actId="1076"/>
        <pc:sldMkLst>
          <pc:docMk/>
          <pc:sldMk cId="1326517747" sldId="283"/>
        </pc:sldMkLst>
        <pc:picChg chg="add mod">
          <ac:chgData name="Roberto Gallardo" userId="49a044883f185952" providerId="LiveId" clId="{36989DAC-BAB5-4E30-855F-B49CACBBD14C}" dt="2023-02-27T23:28:47.648" v="95" actId="1076"/>
          <ac:picMkLst>
            <pc:docMk/>
            <pc:sldMk cId="1326517747" sldId="283"/>
            <ac:picMk id="7" creationId="{53A0B24B-CCF2-0B6F-1CD9-FE2A472DC315}"/>
          </ac:picMkLst>
        </pc:picChg>
      </pc:sldChg>
      <pc:sldChg chg="addSp modSp mod">
        <pc:chgData name="Roberto Gallardo" userId="49a044883f185952" providerId="LiveId" clId="{36989DAC-BAB5-4E30-855F-B49CACBBD14C}" dt="2023-02-27T23:29:03.112" v="103" actId="1076"/>
        <pc:sldMkLst>
          <pc:docMk/>
          <pc:sldMk cId="783739251" sldId="284"/>
        </pc:sldMkLst>
        <pc:picChg chg="add mod">
          <ac:chgData name="Roberto Gallardo" userId="49a044883f185952" providerId="LiveId" clId="{36989DAC-BAB5-4E30-855F-B49CACBBD14C}" dt="2023-02-27T23:29:03.112" v="103" actId="1076"/>
          <ac:picMkLst>
            <pc:docMk/>
            <pc:sldMk cId="783739251" sldId="284"/>
            <ac:picMk id="7" creationId="{97B172EA-4632-9C64-439B-4D95B6D6CBBD}"/>
          </ac:picMkLst>
        </pc:picChg>
      </pc:sldChg>
      <pc:sldChg chg="addSp modSp mod">
        <pc:chgData name="Roberto Gallardo" userId="49a044883f185952" providerId="LiveId" clId="{36989DAC-BAB5-4E30-855F-B49CACBBD14C}" dt="2023-02-27T23:29:22.429" v="112" actId="1076"/>
        <pc:sldMkLst>
          <pc:docMk/>
          <pc:sldMk cId="1676122233" sldId="285"/>
        </pc:sldMkLst>
        <pc:picChg chg="add mod">
          <ac:chgData name="Roberto Gallardo" userId="49a044883f185952" providerId="LiveId" clId="{36989DAC-BAB5-4E30-855F-B49CACBBD14C}" dt="2023-02-27T23:29:22.429" v="112" actId="1076"/>
          <ac:picMkLst>
            <pc:docMk/>
            <pc:sldMk cId="1676122233" sldId="285"/>
            <ac:picMk id="7" creationId="{57AEAFC9-83FB-93E5-5A25-6C6D897FB655}"/>
          </ac:picMkLst>
        </pc:picChg>
      </pc:sldChg>
      <pc:sldChg chg="addSp modSp mod">
        <pc:chgData name="Roberto Gallardo" userId="49a044883f185952" providerId="LiveId" clId="{36989DAC-BAB5-4E30-855F-B49CACBBD14C}" dt="2023-02-27T23:29:43.917" v="122" actId="1076"/>
        <pc:sldMkLst>
          <pc:docMk/>
          <pc:sldMk cId="3100398757" sldId="286"/>
        </pc:sldMkLst>
        <pc:picChg chg="add mod">
          <ac:chgData name="Roberto Gallardo" userId="49a044883f185952" providerId="LiveId" clId="{36989DAC-BAB5-4E30-855F-B49CACBBD14C}" dt="2023-02-27T23:29:43.917" v="122" actId="1076"/>
          <ac:picMkLst>
            <pc:docMk/>
            <pc:sldMk cId="3100398757" sldId="286"/>
            <ac:picMk id="7" creationId="{D1C304BD-8ACC-3325-8E83-65C253D7D8E1}"/>
          </ac:picMkLst>
        </pc:picChg>
      </pc:sldChg>
      <pc:sldChg chg="addSp modSp mod">
        <pc:chgData name="Roberto Gallardo" userId="49a044883f185952" providerId="LiveId" clId="{36989DAC-BAB5-4E30-855F-B49CACBBD14C}" dt="2023-02-27T23:30:07.444" v="134" actId="1076"/>
        <pc:sldMkLst>
          <pc:docMk/>
          <pc:sldMk cId="1546475425" sldId="287"/>
        </pc:sldMkLst>
        <pc:picChg chg="add mod">
          <ac:chgData name="Roberto Gallardo" userId="49a044883f185952" providerId="LiveId" clId="{36989DAC-BAB5-4E30-855F-B49CACBBD14C}" dt="2023-02-27T23:30:07.444" v="134" actId="1076"/>
          <ac:picMkLst>
            <pc:docMk/>
            <pc:sldMk cId="1546475425" sldId="287"/>
            <ac:picMk id="7" creationId="{86DEC69E-CD80-3A80-DF4F-96B8194FC7DB}"/>
          </ac:picMkLst>
        </pc:picChg>
      </pc:sldChg>
      <pc:sldChg chg="addSp modSp mod">
        <pc:chgData name="Roberto Gallardo" userId="49a044883f185952" providerId="LiveId" clId="{36989DAC-BAB5-4E30-855F-B49CACBBD14C}" dt="2023-02-27T23:30:54.479" v="155" actId="1076"/>
        <pc:sldMkLst>
          <pc:docMk/>
          <pc:sldMk cId="1380517306" sldId="288"/>
        </pc:sldMkLst>
        <pc:picChg chg="add mod">
          <ac:chgData name="Roberto Gallardo" userId="49a044883f185952" providerId="LiveId" clId="{36989DAC-BAB5-4E30-855F-B49CACBBD14C}" dt="2023-02-27T23:30:54.479" v="155" actId="1076"/>
          <ac:picMkLst>
            <pc:docMk/>
            <pc:sldMk cId="1380517306" sldId="288"/>
            <ac:picMk id="7" creationId="{7AD5C69A-8860-98BB-71E4-15534971EF6D}"/>
          </ac:picMkLst>
        </pc:picChg>
      </pc:sldChg>
      <pc:sldChg chg="addSp modSp mod">
        <pc:chgData name="Roberto Gallardo" userId="49a044883f185952" providerId="LiveId" clId="{36989DAC-BAB5-4E30-855F-B49CACBBD14C}" dt="2023-02-27T23:31:12.001" v="165" actId="1076"/>
        <pc:sldMkLst>
          <pc:docMk/>
          <pc:sldMk cId="1388671151" sldId="289"/>
        </pc:sldMkLst>
        <pc:picChg chg="add mod">
          <ac:chgData name="Roberto Gallardo" userId="49a044883f185952" providerId="LiveId" clId="{36989DAC-BAB5-4E30-855F-B49CACBBD14C}" dt="2023-02-27T23:31:12.001" v="165" actId="1076"/>
          <ac:picMkLst>
            <pc:docMk/>
            <pc:sldMk cId="1388671151" sldId="289"/>
            <ac:picMk id="7" creationId="{553429DA-DE8B-708F-4C37-4EEB993DB208}"/>
          </ac:picMkLst>
        </pc:picChg>
      </pc:sldChg>
      <pc:sldChg chg="addSp modSp mod">
        <pc:chgData name="Roberto Gallardo" userId="49a044883f185952" providerId="LiveId" clId="{36989DAC-BAB5-4E30-855F-B49CACBBD14C}" dt="2023-02-27T23:33:21.100" v="194" actId="1076"/>
        <pc:sldMkLst>
          <pc:docMk/>
          <pc:sldMk cId="2355376039" sldId="290"/>
        </pc:sldMkLst>
        <pc:picChg chg="add mod">
          <ac:chgData name="Roberto Gallardo" userId="49a044883f185952" providerId="LiveId" clId="{36989DAC-BAB5-4E30-855F-B49CACBBD14C}" dt="2023-02-27T23:33:21.100" v="194" actId="1076"/>
          <ac:picMkLst>
            <pc:docMk/>
            <pc:sldMk cId="2355376039" sldId="290"/>
            <ac:picMk id="8" creationId="{65397BB9-C138-7134-88EC-9C73CC8FAC2D}"/>
          </ac:picMkLst>
        </pc:picChg>
      </pc:sldChg>
      <pc:sldChg chg="addSp modSp mod">
        <pc:chgData name="Roberto Gallardo" userId="49a044883f185952" providerId="LiveId" clId="{36989DAC-BAB5-4E30-855F-B49CACBBD14C}" dt="2023-02-27T23:33:39.076" v="204" actId="1076"/>
        <pc:sldMkLst>
          <pc:docMk/>
          <pc:sldMk cId="3757257295" sldId="291"/>
        </pc:sldMkLst>
        <pc:picChg chg="add mod">
          <ac:chgData name="Roberto Gallardo" userId="49a044883f185952" providerId="LiveId" clId="{36989DAC-BAB5-4E30-855F-B49CACBBD14C}" dt="2023-02-27T23:33:39.076" v="204" actId="1076"/>
          <ac:picMkLst>
            <pc:docMk/>
            <pc:sldMk cId="3757257295" sldId="291"/>
            <ac:picMk id="8" creationId="{E3E50DE3-96BC-E2D6-F353-A5ADB0C30A7B}"/>
          </ac:picMkLst>
        </pc:picChg>
      </pc:sldChg>
      <pc:sldChg chg="addSp modSp mod">
        <pc:chgData name="Roberto Gallardo" userId="49a044883f185952" providerId="LiveId" clId="{36989DAC-BAB5-4E30-855F-B49CACBBD14C}" dt="2023-02-27T23:30:36.743" v="146" actId="1076"/>
        <pc:sldMkLst>
          <pc:docMk/>
          <pc:sldMk cId="1259856727" sldId="292"/>
        </pc:sldMkLst>
        <pc:picChg chg="add mod">
          <ac:chgData name="Roberto Gallardo" userId="49a044883f185952" providerId="LiveId" clId="{36989DAC-BAB5-4E30-855F-B49CACBBD14C}" dt="2023-02-27T23:30:36.743" v="146" actId="1076"/>
          <ac:picMkLst>
            <pc:docMk/>
            <pc:sldMk cId="1259856727" sldId="292"/>
            <ac:picMk id="7" creationId="{3AB071A6-C83D-DEA9-9ECE-AE59D8F43030}"/>
          </ac:picMkLst>
        </pc:picChg>
      </pc:sldChg>
      <pc:sldChg chg="addSp modSp mod">
        <pc:chgData name="Roberto Gallardo" userId="49a044883f185952" providerId="LiveId" clId="{36989DAC-BAB5-4E30-855F-B49CACBBD14C}" dt="2023-02-27T23:27:41.313" v="64" actId="1076"/>
        <pc:sldMkLst>
          <pc:docMk/>
          <pc:sldMk cId="3324519687" sldId="293"/>
        </pc:sldMkLst>
        <pc:picChg chg="add mod">
          <ac:chgData name="Roberto Gallardo" userId="49a044883f185952" providerId="LiveId" clId="{36989DAC-BAB5-4E30-855F-B49CACBBD14C}" dt="2023-02-27T23:27:41.313" v="64" actId="1076"/>
          <ac:picMkLst>
            <pc:docMk/>
            <pc:sldMk cId="3324519687" sldId="293"/>
            <ac:picMk id="7" creationId="{13AD71C5-6285-64D5-8C70-FA639E7B3FBA}"/>
          </ac:picMkLst>
        </pc:picChg>
      </pc:sldChg>
      <pc:sldChg chg="addSp modSp mod">
        <pc:chgData name="Roberto Gallardo" userId="49a044883f185952" providerId="LiveId" clId="{36989DAC-BAB5-4E30-855F-B49CACBBD14C}" dt="2023-02-27T23:26:58.524" v="46" actId="1076"/>
        <pc:sldMkLst>
          <pc:docMk/>
          <pc:sldMk cId="3256182630" sldId="295"/>
        </pc:sldMkLst>
        <pc:picChg chg="add mod">
          <ac:chgData name="Roberto Gallardo" userId="49a044883f185952" providerId="LiveId" clId="{36989DAC-BAB5-4E30-855F-B49CACBBD14C}" dt="2023-02-27T23:26:58.524" v="46" actId="1076"/>
          <ac:picMkLst>
            <pc:docMk/>
            <pc:sldMk cId="3256182630" sldId="295"/>
            <ac:picMk id="7" creationId="{A940E585-DA96-C5DF-3FA2-AA4014D5292E}"/>
          </ac:picMkLst>
        </pc:picChg>
      </pc:sldChg>
      <pc:sldChg chg="addSp modSp mod">
        <pc:chgData name="Roberto Gallardo" userId="49a044883f185952" providerId="LiveId" clId="{36989DAC-BAB5-4E30-855F-B49CACBBD14C}" dt="2023-02-27T23:27:24.405" v="55" actId="1076"/>
        <pc:sldMkLst>
          <pc:docMk/>
          <pc:sldMk cId="4057156843" sldId="296"/>
        </pc:sldMkLst>
        <pc:picChg chg="add mod">
          <ac:chgData name="Roberto Gallardo" userId="49a044883f185952" providerId="LiveId" clId="{36989DAC-BAB5-4E30-855F-B49CACBBD14C}" dt="2023-02-27T23:27:24.405" v="55" actId="1076"/>
          <ac:picMkLst>
            <pc:docMk/>
            <pc:sldMk cId="4057156843" sldId="296"/>
            <ac:picMk id="7" creationId="{7DC9BC0C-46CD-B0BF-236E-B8629AA027B8}"/>
          </ac:picMkLst>
        </pc:picChg>
      </pc:sldChg>
      <pc:sldChg chg="addSp modSp mod">
        <pc:chgData name="Roberto Gallardo" userId="49a044883f185952" providerId="LiveId" clId="{36989DAC-BAB5-4E30-855F-B49CACBBD14C}" dt="2023-02-27T23:26:18.676" v="28" actId="1076"/>
        <pc:sldMkLst>
          <pc:docMk/>
          <pc:sldMk cId="2080110827" sldId="297"/>
        </pc:sldMkLst>
        <pc:picChg chg="add mod">
          <ac:chgData name="Roberto Gallardo" userId="49a044883f185952" providerId="LiveId" clId="{36989DAC-BAB5-4E30-855F-B49CACBBD14C}" dt="2023-02-27T23:26:18.676" v="28" actId="1076"/>
          <ac:picMkLst>
            <pc:docMk/>
            <pc:sldMk cId="2080110827" sldId="297"/>
            <ac:picMk id="6" creationId="{1BA4F832-7F52-330E-C3DB-032CDB1D2C71}"/>
          </ac:picMkLst>
        </pc:picChg>
      </pc:sldChg>
      <pc:sldChg chg="addSp modSp mod">
        <pc:chgData name="Roberto Gallardo" userId="49a044883f185952" providerId="LiveId" clId="{36989DAC-BAB5-4E30-855F-B49CACBBD14C}" dt="2023-02-27T23:26:02.572" v="20" actId="1076"/>
        <pc:sldMkLst>
          <pc:docMk/>
          <pc:sldMk cId="1532666867" sldId="298"/>
        </pc:sldMkLst>
        <pc:picChg chg="add mod">
          <ac:chgData name="Roberto Gallardo" userId="49a044883f185952" providerId="LiveId" clId="{36989DAC-BAB5-4E30-855F-B49CACBBD14C}" dt="2023-02-27T23:26:02.572" v="20" actId="1076"/>
          <ac:picMkLst>
            <pc:docMk/>
            <pc:sldMk cId="1532666867" sldId="298"/>
            <ac:picMk id="6" creationId="{910AAEFC-758D-75AA-3F25-86706BAD2FD7}"/>
          </ac:picMkLst>
        </pc:picChg>
      </pc:sldChg>
      <pc:sldChg chg="addSp modSp mod">
        <pc:chgData name="Roberto Gallardo" userId="49a044883f185952" providerId="LiveId" clId="{36989DAC-BAB5-4E30-855F-B49CACBBD14C}" dt="2023-02-27T23:32:48.277" v="180" actId="1076"/>
        <pc:sldMkLst>
          <pc:docMk/>
          <pc:sldMk cId="1951376777" sldId="299"/>
        </pc:sldMkLst>
        <pc:picChg chg="add mod">
          <ac:chgData name="Roberto Gallardo" userId="49a044883f185952" providerId="LiveId" clId="{36989DAC-BAB5-4E30-855F-B49CACBBD14C}" dt="2023-02-27T23:32:48.277" v="180" actId="1076"/>
          <ac:picMkLst>
            <pc:docMk/>
            <pc:sldMk cId="1951376777" sldId="299"/>
            <ac:picMk id="7" creationId="{BAB43682-599F-3342-A20B-46049F46BC95}"/>
          </ac:picMkLst>
        </pc:picChg>
      </pc:sldChg>
      <pc:sldChg chg="modSp mod">
        <pc:chgData name="Roberto Gallardo" userId="49a044883f185952" providerId="LiveId" clId="{36989DAC-BAB5-4E30-855F-B49CACBBD14C}" dt="2023-02-25T13:18:19.791" v="2" actId="20577"/>
        <pc:sldMkLst>
          <pc:docMk/>
          <pc:sldMk cId="1515423683" sldId="302"/>
        </pc:sldMkLst>
        <pc:spChg chg="mod">
          <ac:chgData name="Roberto Gallardo" userId="49a044883f185952" providerId="LiveId" clId="{36989DAC-BAB5-4E30-855F-B49CACBBD14C}" dt="2023-02-25T13:18:19.791" v="2" actId="20577"/>
          <ac:spMkLst>
            <pc:docMk/>
            <pc:sldMk cId="1515423683" sldId="302"/>
            <ac:spMk id="5" creationId="{6AE302AC-8931-4144-BE52-DD1A8BA82462}"/>
          </ac:spMkLst>
        </pc:spChg>
        <pc:spChg chg="mod">
          <ac:chgData name="Roberto Gallardo" userId="49a044883f185952" providerId="LiveId" clId="{36989DAC-BAB5-4E30-855F-B49CACBBD14C}" dt="2023-02-25T13:18:16.624" v="1" actId="20577"/>
          <ac:spMkLst>
            <pc:docMk/>
            <pc:sldMk cId="1515423683" sldId="302"/>
            <ac:spMk id="9" creationId="{E362A98F-7DCD-C67C-23CE-1BE182A133B4}"/>
          </ac:spMkLst>
        </pc:spChg>
      </pc:sldChg>
      <pc:sldChg chg="del">
        <pc:chgData name="Roberto Gallardo" userId="49a044883f185952" providerId="LiveId" clId="{36989DAC-BAB5-4E30-855F-B49CACBBD14C}" dt="2023-02-25T14:32:15.957" v="4" actId="47"/>
        <pc:sldMkLst>
          <pc:docMk/>
          <pc:sldMk cId="2841628872" sldId="303"/>
        </pc:sldMkLst>
      </pc:sldChg>
      <pc:sldChg chg="del">
        <pc:chgData name="Roberto Gallardo" userId="49a044883f185952" providerId="LiveId" clId="{36989DAC-BAB5-4E30-855F-B49CACBBD14C}" dt="2023-02-25T14:32:15.957" v="4" actId="47"/>
        <pc:sldMkLst>
          <pc:docMk/>
          <pc:sldMk cId="3084076302" sldId="304"/>
        </pc:sldMkLst>
      </pc:sldChg>
      <pc:sldChg chg="del">
        <pc:chgData name="Roberto Gallardo" userId="49a044883f185952" providerId="LiveId" clId="{36989DAC-BAB5-4E30-855F-B49CACBBD14C}" dt="2023-02-25T14:32:15.957" v="4" actId="47"/>
        <pc:sldMkLst>
          <pc:docMk/>
          <pc:sldMk cId="473712435" sldId="305"/>
        </pc:sldMkLst>
      </pc:sldChg>
      <pc:sldChg chg="add">
        <pc:chgData name="Roberto Gallardo" userId="49a044883f185952" providerId="LiveId" clId="{36989DAC-BAB5-4E30-855F-B49CACBBD14C}" dt="2023-02-25T14:32:11.863" v="3"/>
        <pc:sldMkLst>
          <pc:docMk/>
          <pc:sldMk cId="3492582100" sldId="307"/>
        </pc:sldMkLst>
      </pc:sldChg>
      <pc:sldChg chg="add">
        <pc:chgData name="Roberto Gallardo" userId="49a044883f185952" providerId="LiveId" clId="{36989DAC-BAB5-4E30-855F-B49CACBBD14C}" dt="2023-02-25T14:32:11.863" v="3"/>
        <pc:sldMkLst>
          <pc:docMk/>
          <pc:sldMk cId="11461922" sldId="308"/>
        </pc:sldMkLst>
      </pc:sldChg>
      <pc:sldChg chg="add">
        <pc:chgData name="Roberto Gallardo" userId="49a044883f185952" providerId="LiveId" clId="{36989DAC-BAB5-4E30-855F-B49CACBBD14C}" dt="2023-02-25T14:32:11.863" v="3"/>
        <pc:sldMkLst>
          <pc:docMk/>
          <pc:sldMk cId="255606631" sldId="309"/>
        </pc:sldMkLst>
      </pc:sldChg>
      <pc:sldChg chg="add">
        <pc:chgData name="Roberto Gallardo" userId="49a044883f185952" providerId="LiveId" clId="{36989DAC-BAB5-4E30-855F-B49CACBBD14C}" dt="2023-02-25T14:32:11.863" v="3"/>
        <pc:sldMkLst>
          <pc:docMk/>
          <pc:sldMk cId="3419527037"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Chowa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4072842-B2E5-D1D0-433B-220DFE2BC90B}"/>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2556066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80677780-EECF-3A24-5777-CA05D90CB9C0}"/>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34195270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A11BDFD6-7531-CA58-330D-F6DD177188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10AAEFC-758D-75AA-3F25-86706BAD2F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5252" y="1040951"/>
            <a:ext cx="7585295" cy="5363995"/>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1BA4F832-7F52-330E-C3DB-032CDB1D2C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422D3179-9ED4-AADD-BC7C-E626A82507F0}"/>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A940E585-DA96-C5DF-3FA2-AA4014D529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8176" y="1441995"/>
            <a:ext cx="6324599" cy="4472486"/>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5B057600-3A1E-3CAD-6845-5468CB1E6780}"/>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7DC9BC0C-46CD-B0BF-236E-B8629AA027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1825" y="1439284"/>
            <a:ext cx="6327775" cy="447473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275AEB26-65E0-63A0-E5CF-F6023B85241F}"/>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13AD71C5-6285-64D5-8C70-FA639E7B3F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42539"/>
            <a:ext cx="6324600" cy="4472486"/>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AA3461A-A00B-34BF-0166-2AD88BFD4A08}"/>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0CA3DC6E-0CBC-C57C-1931-48A366BE6A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8175" y="1439613"/>
            <a:ext cx="6324600" cy="4472486"/>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6C4D1F52-DA06-52D6-A590-B10433ADFBC8}"/>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with medium confidence">
            <a:extLst>
              <a:ext uri="{FF2B5EF4-FFF2-40B4-BE49-F238E27FC236}">
                <a16:creationId xmlns:a16="http://schemas.microsoft.com/office/drawing/2014/main" id="{04D1CD7A-E90E-72DF-2756-1AE21593EC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3267" y="1443330"/>
            <a:ext cx="6316333" cy="4466640"/>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2D690692-7EF9-8E9A-2F51-2CF7767E797C}"/>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3A0B24B-CCF2-0B6F-1CD9-FE2A472DC3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4138" y="1431805"/>
            <a:ext cx="6315462" cy="4466024"/>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719F7B92-1753-580F-5DFF-4990029E1945}"/>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7B172EA-4632-9C64-439B-4D95B6D6CB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42860"/>
            <a:ext cx="6324600" cy="4472486"/>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C8B4C78D-C5E6-0D6E-A3D0-A590564C0638}"/>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7AEAFC9-83FB-93E5-5A25-6C6D897FB6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41783" y="1444024"/>
            <a:ext cx="6300898" cy="4455725"/>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6DBCFC48-A49A-54DA-77DC-AF883E53040D}"/>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1C304BD-8ACC-3325-8E83-65C253D7D8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45697"/>
            <a:ext cx="6334125" cy="447922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7E41634F-1CE0-9DAD-827A-DC96558E85F7}"/>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6DEC69E-CD80-3A80-DF4F-96B8194FC7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44330"/>
            <a:ext cx="6324600" cy="4472485"/>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3374B9D2-1CD4-0ED2-168F-3F71692C4D9B}"/>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Schematic, map&#10;&#10;Description automatically generated">
            <a:extLst>
              <a:ext uri="{FF2B5EF4-FFF2-40B4-BE49-F238E27FC236}">
                <a16:creationId xmlns:a16="http://schemas.microsoft.com/office/drawing/2014/main" id="{3AB071A6-C83D-DEA9-9ECE-AE59D8F430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34181"/>
            <a:ext cx="6323281" cy="4471553"/>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57387326-1109-56E2-E3C1-F7B55B81C557}"/>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7AD5C69A-8860-98BB-71E4-15534971EF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5909" y="1455738"/>
            <a:ext cx="6303691" cy="4457700"/>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052ED396-0E19-B36B-9278-58285640DB6C}"/>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53429DA-DE8B-708F-4C37-4EEB993DB2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39350"/>
            <a:ext cx="6324600" cy="4472486"/>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D66B466D-88F9-E08A-78B7-82C84EE04E93}"/>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BAB43682-599F-3342-A20B-46049F46BC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44796"/>
            <a:ext cx="6312187" cy="4463708"/>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E1C92097-9CAE-93D9-7F98-B51FBE46961F}"/>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65397BB9-C138-7134-88EC-9C73CC8FAC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37195"/>
            <a:ext cx="6344099" cy="4486275"/>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0CCD7A51-A3A5-E0B9-EA0C-38405AC3A20D}"/>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6469593D-5A21-0987-2E83-BDF5F873267B}"/>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E3E50DE3-96BC-E2D6-F353-A5ADB0C30A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0" y="1431307"/>
            <a:ext cx="6337038" cy="448128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D6F8689C-3914-4C82-E455-8BB93C844933}"/>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ED0CA9AE-47DF-AFE8-5866-829F483A5F59}"/>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B590A89-EE8A-C55A-839D-98BE6CB1E0CC}"/>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36024" y="2542482"/>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0</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300165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25650" y="2372390"/>
            <a:ext cx="1198148" cy="2566938"/>
            <a:chOff x="10476220" y="3152862"/>
            <a:chExt cx="1198148" cy="2566938"/>
          </a:xfrm>
        </p:grpSpPr>
        <p:sp>
          <p:nvSpPr>
            <p:cNvPr id="11" name="TextBox 10">
              <a:extLst>
                <a:ext uri="{FF2B5EF4-FFF2-40B4-BE49-F238E27FC236}">
                  <a16:creationId xmlns:a16="http://schemas.microsoft.com/office/drawing/2014/main" id="{09F5AE19-B4E3-7788-F25F-CDA80D596DAF}"/>
                </a:ext>
              </a:extLst>
            </p:cNvPr>
            <p:cNvSpPr txBox="1"/>
            <p:nvPr/>
          </p:nvSpPr>
          <p:spPr>
            <a:xfrm>
              <a:off x="10476220" y="394135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6</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11087" y="57198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23650" y="315286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75294" y="3152862"/>
              <a:ext cx="0" cy="78849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flipH="1">
              <a:off x="11065769" y="4833911"/>
              <a:ext cx="9525" cy="8763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2529F6AD-9C87-75EE-F3CE-1D6C2DECC554}"/>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F3B8608D-BD88-DD54-80FC-CAC99889CFEC}"/>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503F793-FB7E-D3E5-C04F-E6543E12132A}"/>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D70E662D-1E55-F77B-4752-357A15BF6D27}"/>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DDA73E7B-0860-E0DE-9CEA-0C0FAFA6D515}"/>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380BD9E0-D567-A6FD-2EE3-B031AD38F3E6}"/>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4D6EBA9D-49FB-717E-8640-38DC9FB0797B}"/>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4925821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44D0EA1C-FC73-98AE-3AF8-86720C9B5D17}"/>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114619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87</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68</cp:revision>
  <dcterms:created xsi:type="dcterms:W3CDTF">2022-07-04T13:32:28Z</dcterms:created>
  <dcterms:modified xsi:type="dcterms:W3CDTF">2023-02-27T23:33:41Z</dcterms:modified>
</cp:coreProperties>
</file>